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6F00"/>
    <a:srgbClr val="F0C11D"/>
    <a:srgbClr val="F78305"/>
    <a:srgbClr val="2624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28"/>
    <p:restoredTop sz="94674"/>
  </p:normalViewPr>
  <p:slideViewPr>
    <p:cSldViewPr snapToGrid="0">
      <p:cViewPr varScale="1">
        <p:scale>
          <a:sx n="112" d="100"/>
          <a:sy n="112" d="100"/>
        </p:scale>
        <p:origin x="200" y="4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CDFA16-A3EB-A1C6-1CA7-15A15531AD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7C9C06-1869-4CB8-4E41-2A770C46BF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1" i="0">
                <a:latin typeface="Lato Semibold" panose="020F0502020204030203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F309FE-B850-2B10-0F07-5C66256B2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E22DD77-7973-5D4B-A52C-159067795889}" type="datetimeFigureOut">
              <a:rPr lang="en-US" smtClean="0"/>
              <a:pPr/>
              <a:t>5/9/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5689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1B3C-C562-173D-D4CF-6703E4F9E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DB8CB0-8166-01F1-3DED-FCAF560C4F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71FF88-CD9A-9B52-B940-70F423DFD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C4A236-4AAB-3B00-FF5E-5FFBFE82D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350F7B-61C6-8E62-836C-80234311B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47005C-658E-5D4F-9E9D-3DFA6A2AEC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768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FCE4B7E-0DCF-95F4-CA9C-444FFB207F2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DA9FA3-34E0-DFAB-85B9-B81044C403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98BCC2-90C4-AB11-6F76-BFE2FEABE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43469B-5B57-076D-12A7-FF174970C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81008C-812E-FEC0-D82F-B82EBD6FF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47005C-658E-5D4F-9E9D-3DFA6A2AEC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452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EAB630-437B-CC93-0CEC-5C0AD4712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495272-0C32-8551-D166-9C71A6F7EC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F78305"/>
                </a:solidFill>
              </a:defRPr>
            </a:lvl1pPr>
            <a:lvl2pPr>
              <a:defRPr>
                <a:solidFill>
                  <a:srgbClr val="F0C11D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E7E1DF-81E8-3A44-1631-93FD018925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DF9963-42AA-FE2F-8811-333405118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EED5AC-E9C1-BAF8-D812-5CB677928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47005C-658E-5D4F-9E9D-3DFA6A2AEC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6685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4FB26C-3811-A275-9FE3-77F917FE2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C43539-42E2-D40D-A436-51D9107962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F9587A-9407-0403-07CA-7CFBE1356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06FD56-F5D7-D64D-E177-FA404E494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24FB54-7A86-94DE-C2D5-06EC070C2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47005C-658E-5D4F-9E9D-3DFA6A2AEC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906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4CB9E5-DEF1-717A-0298-BDF8AD603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0248C-0E63-25E4-9F20-424836CA118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A419B55-06CC-E9A4-AB00-491B23B17F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9B7194-CD08-4508-4288-6CF2CF932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065104C-1A1A-33E0-6601-AD288D2AC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97C3FD-C9B3-B7D4-AA98-BDCE5A59C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47005C-658E-5D4F-9E9D-3DFA6A2AEC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725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206FCC-3D17-6D87-C019-37D157AABC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97D856-39AB-3268-1689-F67D2CAF58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44059A-7C6E-1EB7-402E-8C46D18545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122812-4D9E-68A1-AD61-64DB8D6DB8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6C15B6B-FD6F-ABDA-DA7C-7DC5BC4517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1CAC96-0A92-BFA2-6F14-7898C561C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7E163C-69CF-90B7-2597-FEE5A18E4A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56B8FD7-7BAF-00F4-232D-C8C8EAD4DF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47005C-658E-5D4F-9E9D-3DFA6A2AEC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896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28A22-1C97-3361-CB89-CA1C4FED7D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B48120-F95D-0222-7311-95FF4F7ACC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15A6A-4C80-F6E6-970A-D4BCF732F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970DD9-6A8C-23F0-574C-564BE8665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47005C-658E-5D4F-9E9D-3DFA6A2AEC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026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A74B23-9024-47E9-08B0-0C416F5185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F572EE-D361-BB6F-FEB0-623EDFF35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649E5F-F679-27AD-4FDE-A817B1B5E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47005C-658E-5D4F-9E9D-3DFA6A2AEC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4761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5F7EAB-7C8F-1DC4-2B03-88BB85ADF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17F7D-AC79-E566-2BD2-18E4ABFF52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47235B-38E3-499E-6429-04FF2826C1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54FB0C-3D62-2061-64FD-F305483101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60CFBC-3E97-E465-6CFF-94CA0A1C6E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D85395-26BA-9A65-6119-268532174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47005C-658E-5D4F-9E9D-3DFA6A2AEC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0401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A1E3AF-1A0D-5740-FDB9-817710B8E3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17BAE7-6DD0-2EF4-FB3C-15CA0C4691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AB63B1-262F-7033-15D8-D29BFC2F55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EC4033-8B28-DCAE-5C8D-723B61EA1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9A4FBA-1CBD-25C1-58DB-84575C637E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22EBB5-3EE0-ABBA-F2FF-A966E700F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247005C-658E-5D4F-9E9D-3DFA6A2AEC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991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6247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92EF974-2278-3E8E-3478-0614783DCE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485309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FFDA6A-2635-4682-C41B-038EA7D8B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A9745D-401D-5456-6D78-F58561CBB3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6B492B-765B-1727-9C06-2A24C90A44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22DD77-7973-5D4B-A52C-159067795889}" type="datetimeFigureOut">
              <a:rPr lang="en-US" smtClean="0"/>
              <a:t>5/9/23</a:t>
            </a:fld>
            <a:endParaRPr lang="en-US"/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0B0D7621-2018-22B8-FFD7-572E3DF28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21011" t="40541" r="24432" b="35048"/>
          <a:stretch/>
        </p:blipFill>
        <p:spPr>
          <a:xfrm>
            <a:off x="8777607" y="4880919"/>
            <a:ext cx="3414393" cy="1977081"/>
          </a:xfrm>
          <a:prstGeom prst="rect">
            <a:avLst/>
          </a:prstGeom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EE28B44-8EF8-D4AE-D108-3C55067ED7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 sz="1400" b="0" i="0">
                <a:solidFill>
                  <a:schemeClr val="bg1"/>
                </a:solidFill>
                <a:latin typeface="Lato" panose="020F0502020204030203" pitchFamily="34" charset="77"/>
              </a:defRPr>
            </a:lvl1pPr>
          </a:lstStyle>
          <a:p>
            <a:fld id="{9CC14C34-5FA4-394B-8D2F-CE058C177F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8575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bg1"/>
          </a:solidFill>
          <a:latin typeface="Lato Semibold" panose="020F050202020403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Lato Medium" panose="020F05020202040302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Lato Medium" panose="020F05020202040302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Lato Medium" panose="020F050202020403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Lato Medium" panose="020F050202020403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Lato Medium" panose="020F05020202040302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70DF9D-1FF3-203B-52DD-631F948DA7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82564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1FB5F3-E465-AA0E-0BF0-5CAF72616F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b="1" dirty="0">
                <a:latin typeface="Lato" panose="020F0502020204030203" pitchFamily="34" charset="77"/>
                <a:cs typeface="Arial Hebrew" pitchFamily="2" charset="-79"/>
              </a:rPr>
              <a:t>Aleph Working Group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BB784-AAFC-B5B5-2A3F-BEC8759BE0E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oduct Roadmap </a:t>
            </a:r>
          </a:p>
          <a:p>
            <a:r>
              <a:rPr lang="en-US" dirty="0"/>
              <a:t>2023-2026</a:t>
            </a:r>
          </a:p>
        </p:txBody>
      </p:sp>
    </p:spTree>
    <p:extLst>
      <p:ext uri="{BB962C8B-B14F-4D97-AF65-F5344CB8AC3E}">
        <p14:creationId xmlns:p14="http://schemas.microsoft.com/office/powerpoint/2010/main" val="161805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F7B94A-A80E-8519-3626-5F6A86FFCD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62557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3A7B70-6FBF-BA4E-7983-6EA9723DA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leph Roadmap 2023-202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7903F3-E785-C180-12D7-F812DBFB1A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8317230" cy="3877945"/>
          </a:xfrm>
        </p:spPr>
        <p:txBody>
          <a:bodyPr/>
          <a:lstStyle/>
          <a:p>
            <a:r>
              <a:rPr lang="en-US" b="1" dirty="0"/>
              <a:t>Aleph 23</a:t>
            </a:r>
            <a:endParaRPr lang="en-US" sz="2000" b="1" dirty="0"/>
          </a:p>
          <a:p>
            <a:pPr lvl="1"/>
            <a:r>
              <a:rPr lang="en-US" sz="2000" b="0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P 23.4.4       planned for 07/Aug/23</a:t>
            </a:r>
          </a:p>
          <a:p>
            <a:pPr marL="457200" lvl="1" indent="0">
              <a:buNone/>
            </a:pPr>
            <a:endParaRPr lang="en-US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r>
              <a:rPr lang="en-US" b="0" i="0" dirty="0">
                <a:solidFill>
                  <a:srgbClr val="FD6F00"/>
                </a:solidFill>
                <a:effectLst/>
                <a:latin typeface="Roboto" panose="02000000000000000000" pitchFamily="2" charset="0"/>
              </a:rPr>
              <a:t>Aleph 24</a:t>
            </a:r>
            <a:br>
              <a:rPr lang="en-US" sz="1800" b="0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</a:br>
            <a:endParaRPr lang="en-US" sz="1800" b="0" i="0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  <a:p>
            <a:pPr lvl="1"/>
            <a:r>
              <a:rPr lang="en-US" sz="1800" b="0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Version 24.0 (Major Release)     </a:t>
            </a:r>
            <a:r>
              <a:rPr lang="en-US" sz="1800" b="1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15/Jul/22</a:t>
            </a:r>
            <a:br>
              <a:rPr lang="en-US" sz="1800" b="0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</a:br>
            <a:r>
              <a:rPr lang="en-US" sz="1800" b="0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P 24.0.1       06/Mar/23 – was released</a:t>
            </a:r>
          </a:p>
          <a:p>
            <a:pPr lvl="1"/>
            <a:endParaRPr lang="en-US" sz="1800" dirty="0">
              <a:solidFill>
                <a:schemeClr val="bg1"/>
              </a:solidFill>
              <a:latin typeface="Roboto" panose="02000000000000000000" pitchFamily="2" charset="0"/>
            </a:endParaRPr>
          </a:p>
          <a:p>
            <a:pPr lvl="1"/>
            <a:r>
              <a:rPr lang="en-US" sz="1800" b="0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Version 24.1 (Minor Release)     Planned June </a:t>
            </a:r>
            <a:r>
              <a:rPr lang="en-US" sz="1800" b="1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2024</a:t>
            </a:r>
          </a:p>
          <a:p>
            <a:pPr marL="457200" lvl="1" indent="0">
              <a:buNone/>
            </a:pPr>
            <a:endParaRPr lang="en-US" sz="1800" b="1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  <a:p>
            <a:pPr lvl="1"/>
            <a:r>
              <a:rPr lang="en-US" sz="1800" b="0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Version 24.2 (Minor Release)     Planned December </a:t>
            </a:r>
            <a:r>
              <a:rPr lang="en-US" sz="1800" b="1" i="0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2025</a:t>
            </a:r>
            <a:endParaRPr lang="en-US" sz="1800" b="1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7251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F7B94A-A80E-8519-3626-5F6A86FFCD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28904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F7B94A-A80E-8519-3626-5F6A86FFC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3A7B70-6FBF-BA4E-7983-6EA9723DA2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leph </a:t>
            </a:r>
            <a:r>
              <a:rPr lang="en-US" dirty="0" err="1"/>
              <a:t>Enhancemt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7903F3-E785-C180-12D7-F812DBFB1A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030"/>
            <a:ext cx="8271510" cy="4793933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Voting Cycle for 2023 - 2026</a:t>
            </a:r>
          </a:p>
          <a:p>
            <a:pPr marL="368300" indent="0" algn="l" fontAlgn="base">
              <a:buNone/>
            </a:pPr>
            <a:r>
              <a:rPr lang="en-US" b="0" i="0" dirty="0">
                <a:solidFill>
                  <a:schemeClr val="bg1"/>
                </a:solidFill>
                <a:effectLst/>
                <a:latin typeface="Symbol" pitchFamily="2" charset="2"/>
              </a:rPr>
              <a:t>·</a:t>
            </a:r>
            <a:r>
              <a:rPr lang="en-US" b="0" i="0" dirty="0">
                <a:solidFill>
                  <a:schemeClr val="bg1"/>
                </a:solidFill>
                <a:effectLst/>
                <a:latin typeface="Times New Roman" panose="02020603050405020304" pitchFamily="18" charset="0"/>
              </a:rPr>
              <a:t>  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pril 20</a:t>
            </a:r>
            <a:r>
              <a:rPr lang="en-US" sz="2600" b="1" i="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h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2023 – July 20</a:t>
            </a:r>
            <a:r>
              <a:rPr lang="en-US" sz="2600" b="1" i="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h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2023</a:t>
            </a:r>
          </a:p>
          <a:p>
            <a:pPr marL="368300" indent="0" algn="l" fontAlgn="base">
              <a:buNone/>
            </a:pPr>
            <a:r>
              <a:rPr lang="en-US" sz="22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New enhancements requests can be submitted on NERS </a:t>
            </a:r>
          </a:p>
          <a:p>
            <a:pPr marL="368300" indent="0" algn="l" fontAlgn="base">
              <a:buNone/>
            </a:pPr>
            <a:r>
              <a:rPr lang="en-US" b="0" i="0" dirty="0">
                <a:solidFill>
                  <a:schemeClr val="bg1"/>
                </a:solidFill>
                <a:effectLst/>
                <a:latin typeface="Symbol" pitchFamily="2" charset="2"/>
              </a:rPr>
              <a:t>·</a:t>
            </a:r>
            <a:r>
              <a:rPr lang="en-US" b="0" i="0" dirty="0">
                <a:solidFill>
                  <a:schemeClr val="bg1"/>
                </a:solidFill>
                <a:effectLst/>
                <a:latin typeface="Times New Roman" panose="02020603050405020304" pitchFamily="18" charset="0"/>
              </a:rPr>
              <a:t>  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July 21</a:t>
            </a:r>
            <a:r>
              <a:rPr lang="en-US" sz="2600" b="1" i="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t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2023 - July 28</a:t>
            </a:r>
            <a:r>
              <a:rPr lang="en-US" sz="2600" b="1" i="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h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2023</a:t>
            </a:r>
          </a:p>
          <a:p>
            <a:pPr marL="368300" indent="0" algn="l" fontAlgn="base">
              <a:buNone/>
            </a:pPr>
            <a:r>
              <a:rPr lang="en-US" sz="22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leph PWG review the requests and submit them on NERS</a:t>
            </a:r>
          </a:p>
          <a:p>
            <a:pPr marL="368300" indent="0" algn="l" fontAlgn="base">
              <a:buNone/>
            </a:pPr>
            <a:r>
              <a:rPr lang="en-US" b="0" i="0" dirty="0">
                <a:solidFill>
                  <a:schemeClr val="bg1"/>
                </a:solidFill>
                <a:effectLst/>
                <a:latin typeface="Symbol" pitchFamily="2" charset="2"/>
              </a:rPr>
              <a:t>·</a:t>
            </a:r>
            <a:r>
              <a:rPr lang="en-US" b="0" i="0" dirty="0">
                <a:solidFill>
                  <a:schemeClr val="bg1"/>
                </a:solidFill>
                <a:effectLst/>
                <a:latin typeface="Times New Roman" panose="02020603050405020304" pitchFamily="18" charset="0"/>
              </a:rPr>
              <a:t>  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July 31</a:t>
            </a:r>
            <a:r>
              <a:rPr lang="en-US" sz="2600" b="1" i="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t,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 2023 – Oct 30</a:t>
            </a:r>
            <a:r>
              <a:rPr lang="en-US" sz="2600" b="1" i="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h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2023</a:t>
            </a:r>
          </a:p>
          <a:p>
            <a:pPr marL="368300" indent="0" algn="l" fontAlgn="base">
              <a:buNone/>
            </a:pPr>
            <a:r>
              <a:rPr lang="en-US" sz="22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leph Enhancements Voting Cycle</a:t>
            </a:r>
          </a:p>
          <a:p>
            <a:pPr marL="368300" indent="0" algn="l" fontAlgn="base">
              <a:buNone/>
            </a:pPr>
            <a:r>
              <a:rPr lang="en-US" b="0" i="0" dirty="0">
                <a:solidFill>
                  <a:schemeClr val="bg1"/>
                </a:solidFill>
                <a:effectLst/>
                <a:latin typeface="Symbol" pitchFamily="2" charset="2"/>
              </a:rPr>
              <a:t>·</a:t>
            </a:r>
            <a:r>
              <a:rPr lang="en-US" b="0" i="0" dirty="0">
                <a:solidFill>
                  <a:schemeClr val="bg1"/>
                </a:solidFill>
                <a:effectLst/>
                <a:latin typeface="Times New Roman" panose="02020603050405020304" pitchFamily="18" charset="0"/>
              </a:rPr>
              <a:t>  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Nov 1</a:t>
            </a:r>
            <a:r>
              <a:rPr lang="en-US" sz="2600" b="1" i="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t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2023 – Dec 20</a:t>
            </a:r>
            <a:r>
              <a:rPr lang="en-US" sz="2600" b="1" i="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h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 2023 </a:t>
            </a:r>
          </a:p>
          <a:p>
            <a:pPr marL="368300" indent="0" algn="l" fontAlgn="base">
              <a:buNone/>
            </a:pPr>
            <a:r>
              <a:rPr lang="en-US" sz="22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leph PWGs work with </a:t>
            </a:r>
            <a:r>
              <a:rPr lang="en-US" sz="22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ExLibris</a:t>
            </a:r>
            <a:r>
              <a:rPr lang="en-US" sz="22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to clarify requests and pointing</a:t>
            </a:r>
          </a:p>
          <a:p>
            <a:pPr marL="368300" indent="0" algn="l" fontAlgn="base">
              <a:buNone/>
            </a:pPr>
            <a:r>
              <a:rPr lang="en-US" b="0" i="0" dirty="0">
                <a:solidFill>
                  <a:schemeClr val="bg1"/>
                </a:solidFill>
                <a:effectLst/>
                <a:latin typeface="Symbol" pitchFamily="2" charset="2"/>
              </a:rPr>
              <a:t>·</a:t>
            </a:r>
            <a:r>
              <a:rPr lang="en-US" b="0" i="0" dirty="0">
                <a:solidFill>
                  <a:schemeClr val="bg1"/>
                </a:solidFill>
                <a:effectLst/>
                <a:latin typeface="Times New Roman" panose="02020603050405020304" pitchFamily="18" charset="0"/>
              </a:rPr>
              <a:t>  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Dec 21</a:t>
            </a:r>
            <a:r>
              <a:rPr lang="en-US" sz="2600" b="1" i="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t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2023 – Jan 4</a:t>
            </a:r>
            <a:r>
              <a:rPr lang="en-US" sz="2600" b="1" i="0" baseline="3000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h</a:t>
            </a:r>
            <a:r>
              <a:rPr lang="en-US" sz="26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  2024</a:t>
            </a:r>
          </a:p>
          <a:p>
            <a:pPr marL="368300" indent="0" algn="l" fontAlgn="base">
              <a:buNone/>
            </a:pPr>
            <a:r>
              <a:rPr lang="en-US" sz="21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leph PWGs select the most voted enhancements and send them to </a:t>
            </a:r>
            <a:r>
              <a:rPr lang="en-US" sz="2100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ExLibris</a:t>
            </a:r>
            <a:endParaRPr lang="en-US" sz="2100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29373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70DF9D-1FF3-203B-52DD-631F948DA7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9694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70DF9D-1FF3-203B-52DD-631F948DA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1FB5F3-E465-AA0E-0BF0-5CAF72616F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1369377"/>
          </a:xfrm>
        </p:spPr>
        <p:txBody>
          <a:bodyPr vert="horz">
            <a:normAutofit/>
          </a:bodyPr>
          <a:lstStyle/>
          <a:p>
            <a:r>
              <a:rPr lang="en-US" b="1" dirty="0">
                <a:latin typeface="Lato" panose="020F0502020204030203" pitchFamily="34" charset="77"/>
                <a:cs typeface="Arial Hebrew" pitchFamily="2" charset="-79"/>
              </a:rPr>
              <a:t>Aleph </a:t>
            </a:r>
            <a:r>
              <a:rPr lang="en-US" b="1">
                <a:latin typeface="Lato" panose="020F0502020204030203" pitchFamily="34" charset="77"/>
                <a:cs typeface="Arial Hebrew" pitchFamily="2" charset="-79"/>
              </a:rPr>
              <a:t>Working Group</a:t>
            </a:r>
            <a:endParaRPr lang="en-US" b="1" dirty="0">
              <a:latin typeface="Lato" panose="020F0502020204030203" pitchFamily="34" charset="77"/>
              <a:cs typeface="Arial Hebrew" pitchFamily="2" charset="-79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8BB784-AAFC-B5B5-2A3F-BEC8759BE0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6830" y="2859088"/>
            <a:ext cx="9144000" cy="2741612"/>
          </a:xfrm>
        </p:spPr>
        <p:txBody>
          <a:bodyPr>
            <a:normAutofit/>
          </a:bodyPr>
          <a:lstStyle/>
          <a:p>
            <a:endParaRPr lang="en-US" dirty="0"/>
          </a:p>
          <a:p>
            <a:r>
              <a:rPr lang="en-US" dirty="0"/>
              <a:t>We’re looking for the next </a:t>
            </a:r>
          </a:p>
          <a:p>
            <a:r>
              <a:rPr lang="en-US" dirty="0"/>
              <a:t>Aleph Working Group Coordinator</a:t>
            </a:r>
          </a:p>
          <a:p>
            <a:r>
              <a:rPr lang="en-US" dirty="0"/>
              <a:t>Please let us know if you are interested</a:t>
            </a:r>
          </a:p>
          <a:p>
            <a:r>
              <a:rPr lang="en-US" dirty="0" err="1"/>
              <a:t>camelia.anghel@nyu.ed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1219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</TotalTime>
  <Words>193</Words>
  <Application>Microsoft Macintosh PowerPoint</Application>
  <PresentationFormat>Widescreen</PresentationFormat>
  <Paragraphs>3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rial</vt:lpstr>
      <vt:lpstr>Calibri</vt:lpstr>
      <vt:lpstr>Lato</vt:lpstr>
      <vt:lpstr>Lato Medium</vt:lpstr>
      <vt:lpstr>Lato Semibold</vt:lpstr>
      <vt:lpstr>Roboto</vt:lpstr>
      <vt:lpstr>Symbol</vt:lpstr>
      <vt:lpstr>Times New Roman</vt:lpstr>
      <vt:lpstr>Office Theme</vt:lpstr>
      <vt:lpstr>think-cell Slide</vt:lpstr>
      <vt:lpstr>Aleph Working Group Update</vt:lpstr>
      <vt:lpstr>Aleph Roadmap 2023-2026</vt:lpstr>
      <vt:lpstr>Aleph Enhancemts</vt:lpstr>
      <vt:lpstr>Aleph Working Grou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en Jones</dc:creator>
  <cp:lastModifiedBy>Microsoft Office User</cp:lastModifiedBy>
  <cp:revision>7</cp:revision>
  <dcterms:created xsi:type="dcterms:W3CDTF">2023-04-04T22:28:16Z</dcterms:created>
  <dcterms:modified xsi:type="dcterms:W3CDTF">2023-05-10T06:07:05Z</dcterms:modified>
</cp:coreProperties>
</file>